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72"/>
  </p:notesMasterIdLst>
  <p:handoutMasterIdLst>
    <p:handoutMasterId r:id="rId73"/>
  </p:handoutMasterIdLst>
  <p:sldIdLst>
    <p:sldId id="256" r:id="rId7"/>
    <p:sldId id="371" r:id="rId8"/>
    <p:sldId id="378" r:id="rId9"/>
    <p:sldId id="301" r:id="rId10"/>
    <p:sldId id="302" r:id="rId11"/>
    <p:sldId id="303" r:id="rId12"/>
    <p:sldId id="304" r:id="rId13"/>
    <p:sldId id="305" r:id="rId14"/>
    <p:sldId id="306" r:id="rId15"/>
    <p:sldId id="307" r:id="rId16"/>
    <p:sldId id="308" r:id="rId17"/>
    <p:sldId id="309" r:id="rId18"/>
    <p:sldId id="310" r:id="rId19"/>
    <p:sldId id="311" r:id="rId20"/>
    <p:sldId id="312" r:id="rId21"/>
    <p:sldId id="313" r:id="rId22"/>
    <p:sldId id="314" r:id="rId23"/>
    <p:sldId id="315" r:id="rId24"/>
    <p:sldId id="316" r:id="rId25"/>
    <p:sldId id="373" r:id="rId26"/>
    <p:sldId id="370" r:id="rId27"/>
    <p:sldId id="369" r:id="rId28"/>
    <p:sldId id="374" r:id="rId29"/>
    <p:sldId id="318" r:id="rId30"/>
    <p:sldId id="320" r:id="rId31"/>
    <p:sldId id="323" r:id="rId32"/>
    <p:sldId id="324" r:id="rId33"/>
    <p:sldId id="325" r:id="rId34"/>
    <p:sldId id="327" r:id="rId35"/>
    <p:sldId id="328" r:id="rId36"/>
    <p:sldId id="329" r:id="rId37"/>
    <p:sldId id="368" r:id="rId38"/>
    <p:sldId id="330" r:id="rId39"/>
    <p:sldId id="366" r:id="rId40"/>
    <p:sldId id="331" r:id="rId41"/>
    <p:sldId id="367" r:id="rId42"/>
    <p:sldId id="381" r:id="rId43"/>
    <p:sldId id="382" r:id="rId44"/>
    <p:sldId id="375" r:id="rId45"/>
    <p:sldId id="359" r:id="rId46"/>
    <p:sldId id="360" r:id="rId47"/>
    <p:sldId id="333" r:id="rId48"/>
    <p:sldId id="337" r:id="rId49"/>
    <p:sldId id="339" r:id="rId50"/>
    <p:sldId id="376" r:id="rId51"/>
    <p:sldId id="343" r:id="rId52"/>
    <p:sldId id="344" r:id="rId53"/>
    <p:sldId id="345" r:id="rId54"/>
    <p:sldId id="361" r:id="rId55"/>
    <p:sldId id="347" r:id="rId56"/>
    <p:sldId id="348" r:id="rId57"/>
    <p:sldId id="362" r:id="rId58"/>
    <p:sldId id="352" r:id="rId59"/>
    <p:sldId id="353" r:id="rId60"/>
    <p:sldId id="354" r:id="rId61"/>
    <p:sldId id="363" r:id="rId62"/>
    <p:sldId id="364" r:id="rId63"/>
    <p:sldId id="377" r:id="rId64"/>
    <p:sldId id="350" r:id="rId65"/>
    <p:sldId id="355" r:id="rId66"/>
    <p:sldId id="349" r:id="rId67"/>
    <p:sldId id="357" r:id="rId68"/>
    <p:sldId id="358" r:id="rId69"/>
    <p:sldId id="380" r:id="rId70"/>
    <p:sldId id="299" r:id="rId71"/>
  </p:sldIdLst>
  <p:sldSz cx="9144000" cy="6858000" type="screen4x3"/>
  <p:notesSz cx="7023100" cy="9309100"/>
  <p:custDataLst>
    <p:tags r:id="rId7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2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87" d="100"/>
          <a:sy n="87" d="100"/>
        </p:scale>
        <p:origin x="768" y="6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presProps" Target="presProp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tags" Target="tags/tag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handoutMaster" Target="handoutMasters/handoutMaster1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3:44.704" idx="21">
    <p:pos x="5349" y="318"/>
    <p:text>Put the legend saying:</p:text>
    <p:extLst>
      <p:ext uri="{C676402C-5697-4E1C-873F-D02D1690AC5C}">
        <p15:threadingInfo xmlns:p15="http://schemas.microsoft.com/office/powerpoint/2012/main" timeZoneBias="0"/>
      </p:ext>
    </p:extLst>
  </p:cm>
  <p:cm authorId="2" dt="2019-01-25T17:24:31.107" idx="22">
    <p:pos x="5349" y="414"/>
    <p:text>Mock trajectorie or redraw the picture</p:text>
    <p:extLst>
      <p:ext uri="{C676402C-5697-4E1C-873F-D02D1690AC5C}">
        <p15:threadingInfo xmlns:p15="http://schemas.microsoft.com/office/powerpoint/2012/main" timeZoneBias="0">
          <p15:parentCm authorId="2" idx="21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4:50.814" idx="23">
    <p:pos x="5159" y="318"/>
    <p:text>Prolong a trajectory to the waypoint</p:text>
    <p:extLst>
      <p:ext uri="{C676402C-5697-4E1C-873F-D02D1690AC5C}">
        <p15:threadingInfo xmlns:p15="http://schemas.microsoft.com/office/powerpoint/2012/main" timeZoneBias="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1-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1-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voidance Grid we fuse data and divine space into:</a:t>
            </a:r>
          </a:p>
          <a:p>
            <a:endParaRPr lang="en-US" dirty="0"/>
          </a:p>
          <a:p>
            <a:r>
              <a:rPr lang="en-US" dirty="0" err="1"/>
              <a:t>Unseeen</a:t>
            </a:r>
            <a:r>
              <a:rPr lang="en-US" dirty="0"/>
              <a:t> space  yellow U</a:t>
            </a:r>
          </a:p>
          <a:p>
            <a:r>
              <a:rPr lang="en-US" dirty="0"/>
              <a:t>Obstacle space red O</a:t>
            </a:r>
          </a:p>
          <a:p>
            <a:r>
              <a:rPr lang="en-US" dirty="0"/>
              <a:t>Free space White empty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n we take the Reach set and project it into Segmented space</a:t>
            </a:r>
          </a:p>
          <a:p>
            <a:endParaRPr lang="en-US" dirty="0"/>
          </a:p>
          <a:p>
            <a:r>
              <a:rPr lang="en-US" dirty="0"/>
              <a:t>You can see many red trajectories are leading into obstacles, </a:t>
            </a:r>
          </a:p>
          <a:p>
            <a:endParaRPr lang="en-US" dirty="0"/>
          </a:p>
          <a:p>
            <a:r>
              <a:rPr lang="en-US" dirty="0"/>
              <a:t>There are some feasible green trajectories which leads to safe en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where is possible to fly Now!</a:t>
            </a:r>
          </a:p>
          <a:p>
            <a:endParaRPr lang="en-US" dirty="0"/>
          </a:p>
          <a:p>
            <a:r>
              <a:rPr lang="en-US" dirty="0"/>
              <a:t>The cells where do not lead any feasible trajectories are Red and called Unreachable</a:t>
            </a:r>
          </a:p>
          <a:p>
            <a:endParaRPr lang="en-US" dirty="0"/>
          </a:p>
          <a:p>
            <a:r>
              <a:rPr lang="en-US" dirty="0"/>
              <a:t>The feasible green cells where leads at least one feasible trajectory are called Reach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need to find Goal (red point) in green Reachable space</a:t>
            </a:r>
          </a:p>
          <a:p>
            <a:endParaRPr lang="en-US" dirty="0"/>
          </a:p>
          <a:p>
            <a:r>
              <a:rPr lang="en-US" dirty="0"/>
              <a:t>We select feasible trajectory which usually have lowest cost to execute,</a:t>
            </a:r>
          </a:p>
          <a:p>
            <a:endParaRPr lang="en-US" dirty="0"/>
          </a:p>
          <a:p>
            <a:r>
              <a:rPr lang="en-US" dirty="0"/>
              <a:t>Then we need to select a next decision point along it</a:t>
            </a:r>
          </a:p>
          <a:p>
            <a:endParaRPr lang="en-US" dirty="0"/>
          </a:p>
          <a:p>
            <a:r>
              <a:rPr lang="en-US" dirty="0"/>
              <a:t>In decision point we are going to decide what to do nex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2396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d us talk about Ru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497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04009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7997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57.png"/><Relationship Id="rId4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58.png"/><Relationship Id="rId4" Type="http://schemas.openxmlformats.org/officeDocument/2006/relationships/notesSlide" Target="../notesSlides/notesSlide4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61.png"/><Relationship Id="rId4" Type="http://schemas.openxmlformats.org/officeDocument/2006/relationships/notesSlide" Target="../notesSlides/notesSlide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62.png"/><Relationship Id="rId4" Type="http://schemas.openxmlformats.org/officeDocument/2006/relationships/notesSlide" Target="../notesSlides/notesSlide5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5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5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66.png"/><Relationship Id="rId4" Type="http://schemas.openxmlformats.org/officeDocument/2006/relationships/notesSlide" Target="../notesSlides/notesSlide61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jpeg"/><Relationship Id="rId4" Type="http://schemas.openxmlformats.org/officeDocument/2006/relationships/image" Target="../media/image7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Avoidance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Basic Structure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Introduction Story:</a:t>
            </a:r>
            <a:br>
              <a:rPr lang="en-US" sz="3600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sz="3600" dirty="0">
                <a:latin typeface="Algerian" panose="04020705040A02060702" pitchFamily="82" charset="0"/>
              </a:rPr>
              <a:t>How To Get into a Fine Restaura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( Sense &amp; Avoid in Nutshell 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est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ructural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6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Framework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ample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Maneuver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How different are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033</TotalTime>
  <Words>3227</Words>
  <Application>Microsoft Office PowerPoint</Application>
  <PresentationFormat>On-screen Show (4:3)</PresentationFormat>
  <Paragraphs>1032</Paragraphs>
  <Slides>65</Slides>
  <Notes>63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80" baseType="lpstr">
      <vt:lpstr>Algerian</vt:lpstr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Introduction Story:  How To Get into a Fine Restaurant  ( Sense &amp; Avoid in Nutshell )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Sense &amp; Avoid Introduction:  Terminology  Process</vt:lpstr>
      <vt:lpstr>Introduction to Sense &amp; Avoid</vt:lpstr>
      <vt:lpstr>Introduction to Sense &amp; Avoid</vt:lpstr>
      <vt:lpstr>Avoidance Framework:  Basic Structures  Avoidance Run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Test Framework:  Structural Overview</vt:lpstr>
      <vt:lpstr>Test Framework Setup</vt:lpstr>
      <vt:lpstr>Examples:  Maze Solver  Storm Avoidance</vt:lpstr>
      <vt:lpstr>Example:  Simple maze</vt:lpstr>
      <vt:lpstr>Example:  Storm</vt:lpstr>
      <vt:lpstr>Rules of the Air Introduction</vt:lpstr>
      <vt:lpstr>UAS Traffic Management Concept</vt:lpstr>
      <vt:lpstr>Rule engine</vt:lpstr>
      <vt:lpstr>Rules of the Air:  Converging Maneuver  Head On Approach  Overtake</vt:lpstr>
      <vt:lpstr>Converging Maneuver - Trigger</vt:lpstr>
      <vt:lpstr>Converging Maneuver - Resolution</vt:lpstr>
      <vt:lpstr>Converging Maneuver – Leave condition</vt:lpstr>
      <vt:lpstr>Example:  Converging Maneuver</vt:lpstr>
      <vt:lpstr>Head On Approach - Trigger</vt:lpstr>
      <vt:lpstr>Head On Approach - Resolution</vt:lpstr>
      <vt:lpstr>Example:  Head On Approach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How different are:  Cooperative vs. Noncooperative   Multi-Collision  Situations</vt:lpstr>
      <vt:lpstr>Cooperative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PowerPoint Presentat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20</cp:revision>
  <cp:lastPrinted>2015-07-29T21:30:37Z</cp:lastPrinted>
  <dcterms:created xsi:type="dcterms:W3CDTF">2017-09-21T08:49:16Z</dcterms:created>
  <dcterms:modified xsi:type="dcterms:W3CDTF">2019-01-25T17:27:05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